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slides/slide1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15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3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14" autoAdjust="0"/>
    <p:restoredTop sz="85782" autoAdjust="0"/>
  </p:normalViewPr>
  <p:slideViewPr>
    <p:cSldViewPr snapToGrid="0">
      <p:cViewPr varScale="1">
        <p:scale>
          <a:sx n="106" d="100"/>
          <a:sy n="106" d="100"/>
        </p:scale>
        <p:origin x="163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10" Type="http://schemas.openxmlformats.org/officeDocument/2006/relationships/customXml" Target="../customXml/item3.xml"/><Relationship Id="rId4" Type="http://schemas.openxmlformats.org/officeDocument/2006/relationships/presProps" Target="presProps.xml"/><Relationship Id="rId9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4/12/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47905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Expenses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005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</a:rPr>
              <a:t>Operational Expenses</a:t>
            </a:r>
            <a:endParaRPr lang="en-AU" sz="1050" b="1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239116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ical Cos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5" y="5775455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 Cost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stCxn id="3" idx="3"/>
            <a:endCxn id="5" idx="1"/>
          </p:cNvCxnSpPr>
          <p:nvPr/>
        </p:nvCxnSpPr>
        <p:spPr>
          <a:xfrm flipV="1">
            <a:off x="1847850" y="1594716"/>
            <a:ext cx="749300" cy="176602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1847850" y="3360737"/>
            <a:ext cx="758825" cy="2770318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06675" y="2287419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Facility Cos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400" y="1468273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-Exp (001)</a:t>
            </a: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cxnSpLocks/>
            <a:stCxn id="24" idx="3"/>
            <a:endCxn id="33" idx="1"/>
          </p:cNvCxnSpPr>
          <p:nvPr/>
        </p:nvCxnSpPr>
        <p:spPr>
          <a:xfrm flipV="1">
            <a:off x="4124325" y="2411755"/>
            <a:ext cx="854073" cy="23126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cxnSpLocks/>
            <a:stCxn id="24" idx="3"/>
            <a:endCxn id="34" idx="1"/>
          </p:cNvCxnSpPr>
          <p:nvPr/>
        </p:nvCxnSpPr>
        <p:spPr>
          <a:xfrm>
            <a:off x="4124325" y="2643019"/>
            <a:ext cx="854073" cy="36211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Cos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Cost Centre Element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D5EBDE0-AA51-4865-9FF5-44A227DF97C9}"/>
              </a:ext>
            </a:extLst>
          </p:cNvPr>
          <p:cNvSpPr/>
          <p:nvPr/>
        </p:nvSpPr>
        <p:spPr>
          <a:xfrm>
            <a:off x="2606675" y="4073735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onal Maintenance Cost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7E6D25-4BC9-4986-84B0-B6D42CE8AF60}"/>
              </a:ext>
            </a:extLst>
          </p:cNvPr>
          <p:cNvCxnSpPr>
            <a:stCxn id="5" idx="3"/>
            <a:endCxn id="25" idx="1"/>
          </p:cNvCxnSpPr>
          <p:nvPr/>
        </p:nvCxnSpPr>
        <p:spPr>
          <a:xfrm flipV="1">
            <a:off x="4114800" y="1589829"/>
            <a:ext cx="863600" cy="488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457A1530-DC83-408B-8648-E120B58931BA}"/>
              </a:ext>
            </a:extLst>
          </p:cNvPr>
          <p:cNvSpPr/>
          <p:nvPr/>
        </p:nvSpPr>
        <p:spPr>
          <a:xfrm>
            <a:off x="4978398" y="2290199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-Exp (002) - Heatin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441AA68-E318-484B-B29B-91FD0369EB84}"/>
              </a:ext>
            </a:extLst>
          </p:cNvPr>
          <p:cNvSpPr/>
          <p:nvPr/>
        </p:nvSpPr>
        <p:spPr>
          <a:xfrm>
            <a:off x="4978398" y="288358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-Exp (002) - Electricity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130DA0-F302-4CF0-8361-CB3677DBB715}"/>
              </a:ext>
            </a:extLst>
          </p:cNvPr>
          <p:cNvSpPr/>
          <p:nvPr/>
        </p:nvSpPr>
        <p:spPr>
          <a:xfrm>
            <a:off x="4978398" y="3605974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Admin Costs (004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4D64FD-5C62-45E9-858E-546F1AECB6C5}"/>
              </a:ext>
            </a:extLst>
          </p:cNvPr>
          <p:cNvSpPr/>
          <p:nvPr/>
        </p:nvSpPr>
        <p:spPr>
          <a:xfrm>
            <a:off x="4978397" y="4039232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Maintenance (001)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CC00AA-7819-4FD2-BA28-F71657D39EA4}"/>
              </a:ext>
            </a:extLst>
          </p:cNvPr>
          <p:cNvSpPr/>
          <p:nvPr/>
        </p:nvSpPr>
        <p:spPr>
          <a:xfrm>
            <a:off x="4978397" y="446312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p. Costs (003)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09A608E-B44E-4CD9-B18B-EF3483009025}"/>
              </a:ext>
            </a:extLst>
          </p:cNvPr>
          <p:cNvSpPr/>
          <p:nvPr/>
        </p:nvSpPr>
        <p:spPr>
          <a:xfrm>
            <a:off x="4978396" y="486809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utages (002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1D5D580-4FC2-465A-8090-AC4306ACAF07}"/>
              </a:ext>
            </a:extLst>
          </p:cNvPr>
          <p:cNvSpPr/>
          <p:nvPr/>
        </p:nvSpPr>
        <p:spPr>
          <a:xfrm>
            <a:off x="4978396" y="6006730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-Costs (001)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1CF5882-3E68-499F-AA7A-3A03FA5F5149}"/>
              </a:ext>
            </a:extLst>
          </p:cNvPr>
          <p:cNvCxnSpPr>
            <a:stCxn id="6" idx="3"/>
            <a:endCxn id="48" idx="1"/>
          </p:cNvCxnSpPr>
          <p:nvPr/>
        </p:nvCxnSpPr>
        <p:spPr>
          <a:xfrm flipV="1">
            <a:off x="4124325" y="6128286"/>
            <a:ext cx="854071" cy="276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BC1DE5A2-609D-43DC-BE36-0EDE071B9D74}"/>
              </a:ext>
            </a:extLst>
          </p:cNvPr>
          <p:cNvCxnSpPr>
            <a:stCxn id="32" idx="3"/>
            <a:endCxn id="36" idx="1"/>
          </p:cNvCxnSpPr>
          <p:nvPr/>
        </p:nvCxnSpPr>
        <p:spPr>
          <a:xfrm flipV="1">
            <a:off x="4124325" y="3727530"/>
            <a:ext cx="854073" cy="70180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4E0BF173-2702-45ED-8BF0-1FC64987B142}"/>
              </a:ext>
            </a:extLst>
          </p:cNvPr>
          <p:cNvCxnSpPr>
            <a:stCxn id="32" idx="3"/>
            <a:endCxn id="46" idx="1"/>
          </p:cNvCxnSpPr>
          <p:nvPr/>
        </p:nvCxnSpPr>
        <p:spPr>
          <a:xfrm>
            <a:off x="4124325" y="4429335"/>
            <a:ext cx="854071" cy="560312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7D8877A8-B79B-451E-9282-EF06063653D9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6F4F94F5-9AB0-4A03-B1F0-397C721C8473}"/>
              </a:ext>
            </a:extLst>
          </p:cNvPr>
          <p:cNvSpPr/>
          <p:nvPr/>
        </p:nvSpPr>
        <p:spPr>
          <a:xfrm>
            <a:off x="4440259" y="2489581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2A9AFC25-7290-4912-A14D-4439454A9CA0}"/>
              </a:ext>
            </a:extLst>
          </p:cNvPr>
          <p:cNvSpPr/>
          <p:nvPr/>
        </p:nvSpPr>
        <p:spPr>
          <a:xfrm>
            <a:off x="4440023" y="4261897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2825041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15E10B5A166A49824985A8634E1AFE" ma:contentTypeVersion="2" ma:contentTypeDescription="Create a new document." ma:contentTypeScope="" ma:versionID="73ee4f7d76fe1e8b1fd5270973c6d2f8">
  <xsd:schema xmlns:xsd="http://www.w3.org/2001/XMLSchema" xmlns:xs="http://www.w3.org/2001/XMLSchema" xmlns:p="http://schemas.microsoft.com/office/2006/metadata/properties" xmlns:ns2="37d2a98f-74f4-4e8a-bd54-60ff23fee5b9" targetNamespace="http://schemas.microsoft.com/office/2006/metadata/properties" ma:root="true" ma:fieldsID="e8cdbe0d9ba4c875861173d223b8fd68" ns2:_="">
    <xsd:import namespace="37d2a98f-74f4-4e8a-bd54-60ff23fee5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d2a98f-74f4-4e8a-bd54-60ff23fee5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A38E7F4-6601-4BB2-A48C-18C4A35D3905}"/>
</file>

<file path=customXml/itemProps2.xml><?xml version="1.0" encoding="utf-8"?>
<ds:datastoreItem xmlns:ds="http://schemas.openxmlformats.org/officeDocument/2006/customXml" ds:itemID="{75352FB0-DD55-4E1C-AB1D-2E91D377C977}"/>
</file>

<file path=customXml/itemProps3.xml><?xml version="1.0" encoding="utf-8"?>
<ds:datastoreItem xmlns:ds="http://schemas.openxmlformats.org/officeDocument/2006/customXml" ds:itemID="{1F49BE61-300D-4415-9BFA-F698C46EA58C}"/>
</file>

<file path=docProps/app.xml><?xml version="1.0" encoding="utf-8"?>
<Properties xmlns="http://schemas.openxmlformats.org/officeDocument/2006/extended-properties" xmlns:vt="http://schemas.openxmlformats.org/officeDocument/2006/docPropsVTypes">
  <TotalTime>15015</TotalTime>
  <Words>67</Words>
  <Application>Microsoft Macintosh PowerPoint</Application>
  <PresentationFormat>Custom</PresentationFormat>
  <Paragraphs>2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Expenses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Shichy Seanan</cp:lastModifiedBy>
  <cp:revision>35</cp:revision>
  <dcterms:created xsi:type="dcterms:W3CDTF">2020-04-12T13:23:13Z</dcterms:created>
  <dcterms:modified xsi:type="dcterms:W3CDTF">2020-12-14T14:1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815E10B5A166A49824985A8634E1AFE</vt:lpwstr>
  </property>
</Properties>
</file>